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1A0F8FC0-F11D-4714-98C1-4DA4020A6186}">
          <p14:sldIdLst>
            <p14:sldId id="2147475173"/>
            <p14:sldId id="2147475174"/>
            <p14:sldId id="2147475175"/>
            <p14:sldId id="2147475176"/>
            <p14:sldId id="2147475177"/>
            <p14:sldId id="2147475178"/>
          </p14:sldIdLst>
        </p14:section>
        <p14:section name="Brackets By Retailer By Sector" id="{56915146-9F10-44A1-9477-33A89227F18F}">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0CD91085-B158-46F6-A8AA-A0468885CA47}">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316918285085208E-3</c:v>
                </c:pt>
                <c:pt idx="1">
                  <c:v>3.6368004996117198E-2</c:v>
                </c:pt>
                <c:pt idx="2">
                  <c:v>0.12183872576169985</c:v>
                </c:pt>
                <c:pt idx="3">
                  <c:v>0.26803138806339494</c:v>
                </c:pt>
                <c:pt idx="4">
                  <c:v>0.39485900014784997</c:v>
                </c:pt>
                <c:pt idx="5">
                  <c:v>0.17344449652797625</c:v>
                </c:pt>
                <c:pt idx="6">
                  <c:v>8.266926744532740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660967392666346E-2</c:v>
                </c:pt>
                <c:pt idx="2">
                  <c:v>8.2040397829816307E-3</c:v>
                </c:pt>
                <c:pt idx="3">
                  <c:v>1.0193177824681543E-3</c:v>
                </c:pt>
                <c:pt idx="4">
                  <c:v>1.0202707242664149E-2</c:v>
                </c:pt>
                <c:pt idx="5">
                  <c:v>2.158204920902876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845213709128342E-3</c:v>
                </c:pt>
                <c:pt idx="2">
                  <c:v>9.7217668156847847E-2</c:v>
                </c:pt>
                <c:pt idx="3">
                  <c:v>0.19111521943318921</c:v>
                </c:pt>
                <c:pt idx="4">
                  <c:v>0.57080960194172747</c:v>
                </c:pt>
                <c:pt idx="5">
                  <c:v>0.10755092846468892</c:v>
                </c:pt>
                <c:pt idx="6">
                  <c:v>3.002206063263369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4E-2</c:v>
                </c:pt>
                <c:pt idx="4">
                  <c:v>0.89021699739939097</c:v>
                </c:pt>
                <c:pt idx="5">
                  <c:v>7.281595130021549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5E-2</c:v>
                </c:pt>
                <c:pt idx="4">
                  <c:v>0.83839550714659039</c:v>
                </c:pt>
                <c:pt idx="5">
                  <c:v>0.124722794751214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8249036883102588E-3</c:v>
                </c:pt>
                <c:pt idx="1">
                  <c:v>3.3782254155518582E-2</c:v>
                </c:pt>
                <c:pt idx="2">
                  <c:v>0.12828871256157567</c:v>
                </c:pt>
                <c:pt idx="3">
                  <c:v>0.28029389908295005</c:v>
                </c:pt>
                <c:pt idx="4">
                  <c:v>0.38086360388518753</c:v>
                </c:pt>
                <c:pt idx="5">
                  <c:v>0.16506452973884406</c:v>
                </c:pt>
                <c:pt idx="6">
                  <c:v>4.8820968876138937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318942391174119E-2</c:v>
                </c:pt>
                <c:pt idx="2">
                  <c:v>5.5137933884248834E-2</c:v>
                </c:pt>
                <c:pt idx="3">
                  <c:v>3.4736686526628133E-2</c:v>
                </c:pt>
                <c:pt idx="4">
                  <c:v>6.7670136525075128E-2</c:v>
                </c:pt>
                <c:pt idx="5">
                  <c:v>1.347828842525293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602</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3883172631490734</c:v>
                </c:pt>
                <c:pt idx="2">
                  <c:v>6.85733513406976E-2</c:v>
                </c:pt>
                <c:pt idx="3">
                  <c:v>8.5199533734594043E-3</c:v>
                </c:pt>
                <c:pt idx="4">
                  <c:v>8.5279185241007888E-2</c:v>
                </c:pt>
                <c:pt idx="5">
                  <c:v>1.80393255300023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2269923294306317E-2</c:v>
                </c:pt>
                <c:pt idx="2">
                  <c:v>7.9930224880401524E-3</c:v>
                </c:pt>
                <c:pt idx="3">
                  <c:v>3.4426589528947196E-3</c:v>
                </c:pt>
                <c:pt idx="4">
                  <c:v>1.223501914523722E-2</c:v>
                </c:pt>
                <c:pt idx="5">
                  <c:v>7.4609428004089487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6.450832288352E-2</c:v>
                </c:pt>
                <c:pt idx="3">
                  <c:v>2.7784252533189901E-2</c:v>
                </c:pt>
                <c:pt idx="4">
                  <c:v>9.8743693851477465E-2</c:v>
                </c:pt>
                <c:pt idx="5">
                  <c:v>6.021413150086919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546756316075E-2</c:v>
                </c:pt>
                <c:pt idx="2">
                  <c:v>4.1137278657995359E-2</c:v>
                </c:pt>
                <c:pt idx="3">
                  <c:v>0.31354884189369275</c:v>
                </c:pt>
                <c:pt idx="4">
                  <c:v>0.55220623893151777</c:v>
                </c:pt>
                <c:pt idx="5">
                  <c:v>6.27780934358726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c:v>
                </c:pt>
                <c:pt idx="4">
                  <c:v>0.59387574108439223</c:v>
                </c:pt>
                <c:pt idx="5">
                  <c:v>5.89874561094732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0354873988523E-2</c:v>
                </c:pt>
                <c:pt idx="2">
                  <c:v>6.8172638867039656E-2</c:v>
                </c:pt>
                <c:pt idx="3">
                  <c:v>0.30916144583999189</c:v>
                </c:pt>
                <c:pt idx="4">
                  <c:v>0.5489472030872572</c:v>
                </c:pt>
                <c:pt idx="5">
                  <c:v>5.8881162071140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14884509204492E-3</c:v>
                </c:pt>
                <c:pt idx="1">
                  <c:v>7.9047246020089029E-3</c:v>
                </c:pt>
                <c:pt idx="2">
                  <c:v>9.8734776833118557E-2</c:v>
                </c:pt>
                <c:pt idx="3">
                  <c:v>0.11405517250630832</c:v>
                </c:pt>
                <c:pt idx="4">
                  <c:v>0.38329238792143649</c:v>
                </c:pt>
                <c:pt idx="5">
                  <c:v>0.392961449686207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2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316918285085208E-3</c:v>
                </c:pt>
                <c:pt idx="1">
                  <c:v>3.6368004996117198E-2</c:v>
                </c:pt>
                <c:pt idx="2">
                  <c:v>0.12183872576169985</c:v>
                </c:pt>
                <c:pt idx="3">
                  <c:v>0.26803138806339494</c:v>
                </c:pt>
                <c:pt idx="4">
                  <c:v>0.39485900014784997</c:v>
                </c:pt>
                <c:pt idx="5">
                  <c:v>0.17344449652797625</c:v>
                </c:pt>
                <c:pt idx="6">
                  <c:v>8.266926744532740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588329459832054E-3</c:v>
                </c:pt>
                <c:pt idx="1">
                  <c:v>7.8251402036527088E-4</c:v>
                </c:pt>
                <c:pt idx="2">
                  <c:v>8.9475725217448329E-2</c:v>
                </c:pt>
                <c:pt idx="3">
                  <c:v>0.11610180874499837</c:v>
                </c:pt>
                <c:pt idx="4">
                  <c:v>0.39500696547679892</c:v>
                </c:pt>
                <c:pt idx="5">
                  <c:v>0.397574153594405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7577861394508E-2</c:v>
                </c:pt>
                <c:pt idx="1">
                  <c:v>6.7655345843380704E-2</c:v>
                </c:pt>
                <c:pt idx="2">
                  <c:v>0.21547173411303427</c:v>
                </c:pt>
                <c:pt idx="3">
                  <c:v>0.4843340116357569</c:v>
                </c:pt>
                <c:pt idx="4">
                  <c:v>0.20688312282457111</c:v>
                </c:pt>
                <c:pt idx="5">
                  <c:v>1.04982077218625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4</c:v>
                </c:pt>
                <c:pt idx="5">
                  <c:v>1.38875553642803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205229389434692E-2</c:v>
                </c:pt>
                <c:pt idx="1">
                  <c:v>7.0854005164393927E-2</c:v>
                </c:pt>
                <c:pt idx="2">
                  <c:v>0.22945432953046957</c:v>
                </c:pt>
                <c:pt idx="3">
                  <c:v>0.4633933380993725</c:v>
                </c:pt>
                <c:pt idx="4">
                  <c:v>0.19642286191479091</c:v>
                </c:pt>
                <c:pt idx="5">
                  <c:v>1.4670235901538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1373589723593E-3</c:v>
                </c:pt>
                <c:pt idx="2">
                  <c:v>6.5348137603685269E-2</c:v>
                </c:pt>
                <c:pt idx="3">
                  <c:v>0.18279274351755131</c:v>
                </c:pt>
                <c:pt idx="4">
                  <c:v>0.58824314448782078</c:v>
                </c:pt>
                <c:pt idx="5">
                  <c:v>0.15763860412494748</c:v>
                </c:pt>
                <c:pt idx="6">
                  <c:v>3.96909555324027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882166374765753E-3</c:v>
                </c:pt>
                <c:pt idx="4">
                  <c:v>9.8179375287810941E-3</c:v>
                </c:pt>
                <c:pt idx="5">
                  <c:v>8.8228869934453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19</c:v>
                </c:pt>
                <c:pt idx="4">
                  <c:v>0.56644603950565153</c:v>
                </c:pt>
                <c:pt idx="5">
                  <c:v>0.19549927143426438</c:v>
                </c:pt>
                <c:pt idx="6">
                  <c:v>8.1053550458520243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845213709128342E-3</c:v>
                </c:pt>
                <c:pt idx="2">
                  <c:v>9.7217668156847847E-2</c:v>
                </c:pt>
                <c:pt idx="3">
                  <c:v>0.19111521943318921</c:v>
                </c:pt>
                <c:pt idx="4">
                  <c:v>0.57080960194172747</c:v>
                </c:pt>
                <c:pt idx="5">
                  <c:v>0.10755092846468892</c:v>
                </c:pt>
                <c:pt idx="6">
                  <c:v>3.002206063263369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4E-2</c:v>
                </c:pt>
                <c:pt idx="4">
                  <c:v>0.89021699739939097</c:v>
                </c:pt>
                <c:pt idx="5">
                  <c:v>7.281595130021549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5E-2</c:v>
                </c:pt>
                <c:pt idx="4">
                  <c:v>0.83839550714659039</c:v>
                </c:pt>
                <c:pt idx="5">
                  <c:v>0.124722794751214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406726209211788E-3</c:v>
                </c:pt>
                <c:pt idx="1">
                  <c:v>3.8300346708101882E-2</c:v>
                </c:pt>
                <c:pt idx="2">
                  <c:v>0.11804545324376452</c:v>
                </c:pt>
                <c:pt idx="3">
                  <c:v>0.25149827422127424</c:v>
                </c:pt>
                <c:pt idx="4">
                  <c:v>0.40561195479085038</c:v>
                </c:pt>
                <c:pt idx="5">
                  <c:v>0.18182419182032922</c:v>
                </c:pt>
                <c:pt idx="6">
                  <c:v>5.791065947585685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602</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8662860910350142E-3</c:v>
                </c:pt>
                <c:pt idx="4">
                  <c:v>1.0365959370372987E-2</c:v>
                </c:pt>
                <c:pt idx="5">
                  <c:v>1.08546945652112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546756316075E-2</c:v>
                </c:pt>
                <c:pt idx="2">
                  <c:v>4.1137278657995359E-2</c:v>
                </c:pt>
                <c:pt idx="3">
                  <c:v>0.31354884189369275</c:v>
                </c:pt>
                <c:pt idx="4">
                  <c:v>0.55220623893151777</c:v>
                </c:pt>
                <c:pt idx="5">
                  <c:v>6.27780934358726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110324760778144E-2</c:v>
                </c:pt>
                <c:pt idx="4">
                  <c:v>6.8417187732425735E-2</c:v>
                </c:pt>
                <c:pt idx="5">
                  <c:v>1.604095453152696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c:v>
                </c:pt>
                <c:pt idx="4">
                  <c:v>0.59387574108439223</c:v>
                </c:pt>
                <c:pt idx="5">
                  <c:v>5.89874561094732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414795047385217E-2</c:v>
                </c:pt>
                <c:pt idx="4">
                  <c:v>7.3401727640319561E-2</c:v>
                </c:pt>
                <c:pt idx="5">
                  <c:v>1.527106411326292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0354873988523E-2</c:v>
                </c:pt>
                <c:pt idx="2">
                  <c:v>6.8172638867039656E-2</c:v>
                </c:pt>
                <c:pt idx="3">
                  <c:v>0.30916144583999189</c:v>
                </c:pt>
                <c:pt idx="4">
                  <c:v>0.5489472030872572</c:v>
                </c:pt>
                <c:pt idx="5">
                  <c:v>5.8881162071140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6411951396942636E-2</c:v>
                </c:pt>
                <c:pt idx="4">
                  <c:v>8.6254632221901786E-2</c:v>
                </c:pt>
                <c:pt idx="5">
                  <c:v>2.476004233039275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14884509204492E-3</c:v>
                </c:pt>
                <c:pt idx="1">
                  <c:v>7.9047246020089029E-3</c:v>
                </c:pt>
                <c:pt idx="2">
                  <c:v>9.8734776833118557E-2</c:v>
                </c:pt>
                <c:pt idx="3">
                  <c:v>0.11405517250630832</c:v>
                </c:pt>
                <c:pt idx="4">
                  <c:v>0.38329238792143649</c:v>
                </c:pt>
                <c:pt idx="5">
                  <c:v>0.392961449686207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8249036883102588E-3</c:v>
                </c:pt>
                <c:pt idx="1">
                  <c:v>3.3782254155518582E-2</c:v>
                </c:pt>
                <c:pt idx="2">
                  <c:v>0.12828871256157567</c:v>
                </c:pt>
                <c:pt idx="3">
                  <c:v>0.28029389908295005</c:v>
                </c:pt>
                <c:pt idx="4">
                  <c:v>0.38086360388518753</c:v>
                </c:pt>
                <c:pt idx="5">
                  <c:v>0.16506452973884406</c:v>
                </c:pt>
                <c:pt idx="6">
                  <c:v>4.8820968876138937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120430209740100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2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6705518922463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588329459832054E-3</c:v>
                </c:pt>
                <c:pt idx="1">
                  <c:v>7.8251402036527088E-4</c:v>
                </c:pt>
                <c:pt idx="2">
                  <c:v>8.9475725217448329E-2</c:v>
                </c:pt>
                <c:pt idx="3">
                  <c:v>0.11610180874499837</c:v>
                </c:pt>
                <c:pt idx="4">
                  <c:v>0.39500696547679892</c:v>
                </c:pt>
                <c:pt idx="5">
                  <c:v>0.397574153594405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461470956453709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7577861394508E-2</c:v>
                </c:pt>
                <c:pt idx="1">
                  <c:v>6.7655345843380704E-2</c:v>
                </c:pt>
                <c:pt idx="2">
                  <c:v>0.21547173411303427</c:v>
                </c:pt>
                <c:pt idx="3">
                  <c:v>0.4843340116357569</c:v>
                </c:pt>
                <c:pt idx="4">
                  <c:v>0.20688312282457111</c:v>
                </c:pt>
                <c:pt idx="5">
                  <c:v>1.04982077218625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4</c:v>
                </c:pt>
                <c:pt idx="5">
                  <c:v>1.38875553642803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205229389434692E-2</c:v>
                </c:pt>
                <c:pt idx="1">
                  <c:v>7.0854005164393927E-2</c:v>
                </c:pt>
                <c:pt idx="2">
                  <c:v>0.22945432953046957</c:v>
                </c:pt>
                <c:pt idx="3">
                  <c:v>0.4633933380993725</c:v>
                </c:pt>
                <c:pt idx="4">
                  <c:v>0.19642286191479091</c:v>
                </c:pt>
                <c:pt idx="5">
                  <c:v>1.4670235901538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6267355405443626E-3</c:v>
                </c:pt>
                <c:pt idx="4">
                  <c:v>1.3328920479123485E-2</c:v>
                </c:pt>
                <c:pt idx="5">
                  <c:v>1.369870668913677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1373589723593E-3</c:v>
                </c:pt>
                <c:pt idx="2">
                  <c:v>6.5348137603685269E-2</c:v>
                </c:pt>
                <c:pt idx="3">
                  <c:v>0.18279274351755131</c:v>
                </c:pt>
                <c:pt idx="4">
                  <c:v>0.58824314448782078</c:v>
                </c:pt>
                <c:pt idx="5">
                  <c:v>0.15763860412494748</c:v>
                </c:pt>
                <c:pt idx="6">
                  <c:v>3.96909555324027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19</c:v>
                </c:pt>
                <c:pt idx="4">
                  <c:v>0.56644603950565153</c:v>
                </c:pt>
                <c:pt idx="5">
                  <c:v>0.19549927143426438</c:v>
                </c:pt>
                <c:pt idx="6">
                  <c:v>8.1053550458520243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845213709128342E-3</c:v>
                </c:pt>
                <c:pt idx="2">
                  <c:v>9.7217668156847847E-2</c:v>
                </c:pt>
                <c:pt idx="3">
                  <c:v>0.19111521943318921</c:v>
                </c:pt>
                <c:pt idx="4">
                  <c:v>0.57080960194172747</c:v>
                </c:pt>
                <c:pt idx="5">
                  <c:v>0.10755092846468892</c:v>
                </c:pt>
                <c:pt idx="6">
                  <c:v>3.002206063263369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4E-2</c:v>
                </c:pt>
                <c:pt idx="4">
                  <c:v>0.89021699739939097</c:v>
                </c:pt>
                <c:pt idx="5">
                  <c:v>7.281595130021549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5E-2</c:v>
                </c:pt>
                <c:pt idx="4">
                  <c:v>0.83839550714659039</c:v>
                </c:pt>
                <c:pt idx="5">
                  <c:v>0.124722794751214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5710781901685E-3</c:v>
                </c:pt>
                <c:pt idx="1">
                  <c:v>3.8204793375372754E-2</c:v>
                </c:pt>
                <c:pt idx="2">
                  <c:v>0.12798552630995078</c:v>
                </c:pt>
                <c:pt idx="3">
                  <c:v>0.25797642670071957</c:v>
                </c:pt>
                <c:pt idx="4">
                  <c:v>0.41160025563959868</c:v>
                </c:pt>
                <c:pt idx="5">
                  <c:v>0.15861101936594071</c:v>
                </c:pt>
                <c:pt idx="6">
                  <c:v>7.662678265158306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0761376488587277E-3</c:v>
                </c:pt>
                <c:pt idx="3">
                  <c:v>2.8464121465068999E-3</c:v>
                </c:pt>
                <c:pt idx="4">
                  <c:v>1.0516466768505726E-2</c:v>
                </c:pt>
                <c:pt idx="5">
                  <c:v>5.2254302108340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383021559055119E-3</c:v>
                </c:pt>
                <c:pt idx="3">
                  <c:v>2.9901742105073121E-3</c:v>
                </c:pt>
                <c:pt idx="4">
                  <c:v>1.1047615769709744E-2</c:v>
                </c:pt>
                <c:pt idx="5">
                  <c:v>5.48934794085132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43E-3</c:v>
                </c:pt>
                <c:pt idx="1">
                  <c:v>4.0453124052177075E-2</c:v>
                </c:pt>
                <c:pt idx="2">
                  <c:v>0.12468065232928349</c:v>
                </c:pt>
                <c:pt idx="3">
                  <c:v>0.24066929757465194</c:v>
                </c:pt>
                <c:pt idx="4">
                  <c:v>0.4235016609865862</c:v>
                </c:pt>
                <c:pt idx="5">
                  <c:v>0.16609207976541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9.9448764407935319E-3</c:v>
                </c:pt>
                <c:pt idx="3">
                  <c:v>2.4415242697922519E-3</c:v>
                </c:pt>
                <c:pt idx="4">
                  <c:v>1.0215575661117129E-2</c:v>
                </c:pt>
                <c:pt idx="5">
                  <c:v>7.630816424470539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985882001645663E-3</c:v>
                </c:pt>
                <c:pt idx="1">
                  <c:v>3.612754162937E-2</c:v>
                </c:pt>
                <c:pt idx="2">
                  <c:v>0.13719498356475082</c:v>
                </c:pt>
                <c:pt idx="3">
                  <c:v>0.26555439280971788</c:v>
                </c:pt>
                <c:pt idx="4">
                  <c:v>0.40371945019499322</c:v>
                </c:pt>
                <c:pt idx="5">
                  <c:v>0.14488401371549256</c:v>
                </c:pt>
                <c:pt idx="6">
                  <c:v>5.221029885510939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9705178906068936E-3</c:v>
                </c:pt>
                <c:pt idx="3">
                  <c:v>4.486298563677639E-3</c:v>
                </c:pt>
                <c:pt idx="4">
                  <c:v>1.176903469646207E-2</c:v>
                </c:pt>
                <c:pt idx="5">
                  <c:v>6.689770715707849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6900871838091</c:v>
                </c:pt>
                <c:pt idx="4">
                  <c:v>2.5018851678911807E-2</c:v>
                </c:pt>
                <c:pt idx="5">
                  <c:v>0.47510511822666945</c:v>
                </c:pt>
                <c:pt idx="6">
                  <c:v>2.154125506760111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9545226967618</c:v>
                </c:pt>
                <c:pt idx="4">
                  <c:v>3.1881979303787146E-2</c:v>
                </c:pt>
                <c:pt idx="5">
                  <c:v>0.452520680387414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406726209211788E-3</c:v>
                </c:pt>
                <c:pt idx="1">
                  <c:v>3.8300346708101882E-2</c:v>
                </c:pt>
                <c:pt idx="2">
                  <c:v>0.11804545324376452</c:v>
                </c:pt>
                <c:pt idx="3">
                  <c:v>0.25149827422127424</c:v>
                </c:pt>
                <c:pt idx="4">
                  <c:v>0.40561195479085038</c:v>
                </c:pt>
                <c:pt idx="5">
                  <c:v>0.18182419182032922</c:v>
                </c:pt>
                <c:pt idx="6">
                  <c:v>5.791065947585685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5710781901685E-3</c:v>
                </c:pt>
                <c:pt idx="1">
                  <c:v>3.8204793375372754E-2</c:v>
                </c:pt>
                <c:pt idx="2">
                  <c:v>0.12798552630995078</c:v>
                </c:pt>
                <c:pt idx="3">
                  <c:v>0.25797642670071957</c:v>
                </c:pt>
                <c:pt idx="4">
                  <c:v>0.41160025563959868</c:v>
                </c:pt>
                <c:pt idx="5">
                  <c:v>0.15861101936594071</c:v>
                </c:pt>
                <c:pt idx="6">
                  <c:v>7.662678265158306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645505799227E-2</c:v>
                </c:pt>
                <c:pt idx="2">
                  <c:v>6.7252572360510217E-3</c:v>
                </c:pt>
                <c:pt idx="3">
                  <c:v>4.2368862226514767E-3</c:v>
                </c:pt>
                <c:pt idx="4">
                  <c:v>8.2538289571243706E-3</c:v>
                </c:pt>
                <c:pt idx="5">
                  <c:v>1.643967235910691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43E-3</c:v>
                </c:pt>
                <c:pt idx="1">
                  <c:v>4.0453124052177075E-2</c:v>
                </c:pt>
                <c:pt idx="2">
                  <c:v>0.12468065232928349</c:v>
                </c:pt>
                <c:pt idx="3">
                  <c:v>0.24066929757465194</c:v>
                </c:pt>
                <c:pt idx="4">
                  <c:v>0.4235016609865862</c:v>
                </c:pt>
                <c:pt idx="5">
                  <c:v>0.16609207976541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9.4156307603244487E-3</c:v>
                </c:pt>
                <c:pt idx="3">
                  <c:v>2.3115914163032367E-3</c:v>
                </c:pt>
                <c:pt idx="4">
                  <c:v>9.6719239300635512E-3</c:v>
                </c:pt>
                <c:pt idx="5">
                  <c:v>7.224720214512868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7543291482773286E-2</c:v>
                </c:pt>
                <c:pt idx="2">
                  <c:v>8.6651828256586721E-3</c:v>
                </c:pt>
                <c:pt idx="3">
                  <c:v>1.0766128853804109E-3</c:v>
                </c:pt>
                <c:pt idx="4">
                  <c:v>1.0776193913363263E-2</c:v>
                </c:pt>
                <c:pt idx="5">
                  <c:v>2.279516032290979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985882001645663E-3</c:v>
                </c:pt>
                <c:pt idx="1">
                  <c:v>3.612754162937E-2</c:v>
                </c:pt>
                <c:pt idx="2">
                  <c:v>0.13719498356475082</c:v>
                </c:pt>
                <c:pt idx="3">
                  <c:v>0.26555439280971788</c:v>
                </c:pt>
                <c:pt idx="4">
                  <c:v>0.40371945019499322</c:v>
                </c:pt>
                <c:pt idx="5">
                  <c:v>0.14488401371549256</c:v>
                </c:pt>
                <c:pt idx="6">
                  <c:v>5.221029885510939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3121746185543237E-2</c:v>
                </c:pt>
                <c:pt idx="2">
                  <c:v>8.5479273038382708E-3</c:v>
                </c:pt>
                <c:pt idx="3">
                  <c:v>3.6816609117870176E-3</c:v>
                </c:pt>
                <c:pt idx="4">
                  <c:v>1.3084418862957645E-2</c:v>
                </c:pt>
                <c:pt idx="5">
                  <c:v>7.9789087008597494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6900871838091</c:v>
                </c:pt>
                <c:pt idx="4">
                  <c:v>2.5018851678911807E-2</c:v>
                </c:pt>
                <c:pt idx="5">
                  <c:v>0.47510511822666945</c:v>
                </c:pt>
                <c:pt idx="6">
                  <c:v>2.154125506760111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9545226967618</c:v>
                </c:pt>
                <c:pt idx="4">
                  <c:v>3.1881979303787146E-2</c:v>
                </c:pt>
                <c:pt idx="5">
                  <c:v>0.452520680387414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8249036883102588E-3</c:v>
                </c:pt>
                <c:pt idx="1">
                  <c:v>3.3782254155518582E-2</c:v>
                </c:pt>
                <c:pt idx="2">
                  <c:v>0.12828871256157567</c:v>
                </c:pt>
                <c:pt idx="3">
                  <c:v>0.28029389908295005</c:v>
                </c:pt>
                <c:pt idx="4">
                  <c:v>0.38086360388518753</c:v>
                </c:pt>
                <c:pt idx="5">
                  <c:v>0.16506452973884406</c:v>
                </c:pt>
                <c:pt idx="6">
                  <c:v>4.8820968876138937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5710781901685E-3</c:v>
                </c:pt>
                <c:pt idx="1">
                  <c:v>3.8204793375372754E-2</c:v>
                </c:pt>
                <c:pt idx="2">
                  <c:v>0.12798552630995078</c:v>
                </c:pt>
                <c:pt idx="3">
                  <c:v>0.25797642670071957</c:v>
                </c:pt>
                <c:pt idx="4">
                  <c:v>0.41160025563959868</c:v>
                </c:pt>
                <c:pt idx="5">
                  <c:v>0.15861101936594071</c:v>
                </c:pt>
                <c:pt idx="6">
                  <c:v>7.662678265158306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0277342565419012E-3</c:v>
                </c:pt>
                <c:pt idx="4">
                  <c:v>1.0300632411353873E-2</c:v>
                </c:pt>
                <c:pt idx="5">
                  <c:v>5.08882052481531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43E-3</c:v>
                </c:pt>
                <c:pt idx="1">
                  <c:v>4.0453124052177075E-2</c:v>
                </c:pt>
                <c:pt idx="2">
                  <c:v>0.12468065232928349</c:v>
                </c:pt>
                <c:pt idx="3">
                  <c:v>0.24066929757465194</c:v>
                </c:pt>
                <c:pt idx="4">
                  <c:v>0.4235016609865862</c:v>
                </c:pt>
                <c:pt idx="5">
                  <c:v>0.16609207976541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0273979242497469E-3</c:v>
                </c:pt>
                <c:pt idx="4">
                  <c:v>1.0885058477386517E-2</c:v>
                </c:pt>
                <c:pt idx="5">
                  <c:v>6.500556347624684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985882001645663E-3</c:v>
                </c:pt>
                <c:pt idx="1">
                  <c:v>3.612754162937E-2</c:v>
                </c:pt>
                <c:pt idx="2">
                  <c:v>0.13719498356475082</c:v>
                </c:pt>
                <c:pt idx="3">
                  <c:v>0.26555439280971788</c:v>
                </c:pt>
                <c:pt idx="4">
                  <c:v>0.40371945019499322</c:v>
                </c:pt>
                <c:pt idx="5">
                  <c:v>0.14488401371549256</c:v>
                </c:pt>
                <c:pt idx="6">
                  <c:v>5.221029885510939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5180135806593969E-3</c:v>
                </c:pt>
                <c:pt idx="3">
                  <c:v>4.1950620346801288E-3</c:v>
                </c:pt>
                <c:pt idx="4">
                  <c:v>1.1005025621720703E-2</c:v>
                </c:pt>
                <c:pt idx="5">
                  <c:v>6.255491637893906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6.0173640735357754E-3</c:v>
                </c:pt>
                <c:pt idx="4">
                  <c:v>1.4254262822939325E-2</c:v>
                </c:pt>
                <c:pt idx="5">
                  <c:v>7.212668046937515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6900871838091</c:v>
                </c:pt>
                <c:pt idx="4">
                  <c:v>2.5018851678911807E-2</c:v>
                </c:pt>
                <c:pt idx="5">
                  <c:v>0.47510511822666945</c:v>
                </c:pt>
                <c:pt idx="6">
                  <c:v>2.154125506760111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8.717090218797243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9.518821305351296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9545226967618</c:v>
                </c:pt>
                <c:pt idx="4">
                  <c:v>3.1881979303787146E-2</c:v>
                </c:pt>
                <c:pt idx="5">
                  <c:v>0.452520680387414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11212500560183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316918285085208E-3</c:v>
                </c:pt>
                <c:pt idx="1">
                  <c:v>3.6368004996117198E-2</c:v>
                </c:pt>
                <c:pt idx="2">
                  <c:v>0.12183872576169985</c:v>
                </c:pt>
                <c:pt idx="3">
                  <c:v>0.26803138806339494</c:v>
                </c:pt>
                <c:pt idx="4">
                  <c:v>0.39485900014784997</c:v>
                </c:pt>
                <c:pt idx="5">
                  <c:v>0.17344449652797625</c:v>
                </c:pt>
                <c:pt idx="6">
                  <c:v>8.266926744532740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2332068254325133E-2</c:v>
                </c:pt>
                <c:pt idx="3">
                  <c:v>2.4515348950153868E-2</c:v>
                </c:pt>
                <c:pt idx="4">
                  <c:v>8.5179748515055095E-2</c:v>
                </c:pt>
                <c:pt idx="5">
                  <c:v>3.96119252888557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602</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7.8700417513986307E-2</c:v>
                </c:pt>
                <c:pt idx="3">
                  <c:v>1.932140439824797E-2</c:v>
                </c:pt>
                <c:pt idx="4">
                  <c:v>7.1782763875395186E-2</c:v>
                </c:pt>
                <c:pt idx="5">
                  <c:v>5.28471806365719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2604146335066902E-2</c:v>
                </c:pt>
                <c:pt idx="3">
                  <c:v>3.3856581368870375E-2</c:v>
                </c:pt>
                <c:pt idx="4">
                  <c:v>8.5025244020544052E-2</c:v>
                </c:pt>
                <c:pt idx="5">
                  <c:v>4.373994730233104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546756316075E-2</c:v>
                </c:pt>
                <c:pt idx="2">
                  <c:v>4.1137278657995359E-2</c:v>
                </c:pt>
                <c:pt idx="3">
                  <c:v>0.31354884189369275</c:v>
                </c:pt>
                <c:pt idx="4">
                  <c:v>0.55220623893151777</c:v>
                </c:pt>
                <c:pt idx="5">
                  <c:v>6.27780934358726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081997685155103E-2</c:v>
                </c:pt>
                <c:pt idx="2">
                  <c:v>6.4019192653766085E-3</c:v>
                </c:pt>
                <c:pt idx="3">
                  <c:v>4.0331845432767677E-3</c:v>
                </c:pt>
                <c:pt idx="4">
                  <c:v>7.8570000758461621E-3</c:v>
                </c:pt>
                <c:pt idx="5">
                  <c:v>1.564928321671820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4.3712108953747357E-3</c:v>
                </c:pt>
                <c:pt idx="5">
                  <c:v>4.369274925996972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c:v>
                </c:pt>
                <c:pt idx="4">
                  <c:v>0.59387574108439223</c:v>
                </c:pt>
                <c:pt idx="5">
                  <c:v>5.89874561094732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7.7200506253627989E-3</c:v>
                </c:pt>
                <c:pt idx="5">
                  <c:v>6.425403785250638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0354873988523E-2</c:v>
                </c:pt>
                <c:pt idx="2">
                  <c:v>6.8172638867039656E-2</c:v>
                </c:pt>
                <c:pt idx="3">
                  <c:v>0.30916144583999189</c:v>
                </c:pt>
                <c:pt idx="4">
                  <c:v>0.5489472030872572</c:v>
                </c:pt>
                <c:pt idx="5">
                  <c:v>5.8881162071140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3.0402933460139136E-3</c:v>
                </c:pt>
                <c:pt idx="5">
                  <c:v>5.408745527176450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14884509204492E-3</c:v>
                </c:pt>
                <c:pt idx="1">
                  <c:v>7.9047246020089029E-3</c:v>
                </c:pt>
                <c:pt idx="2">
                  <c:v>9.8734776833118557E-2</c:v>
                </c:pt>
                <c:pt idx="3">
                  <c:v>0.11405517250630832</c:v>
                </c:pt>
                <c:pt idx="4">
                  <c:v>0.38329238792143649</c:v>
                </c:pt>
                <c:pt idx="5">
                  <c:v>0.392961449686207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2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588329459832054E-3</c:v>
                </c:pt>
                <c:pt idx="1">
                  <c:v>7.8251402036527088E-4</c:v>
                </c:pt>
                <c:pt idx="2">
                  <c:v>8.9475725217448329E-2</c:v>
                </c:pt>
                <c:pt idx="3">
                  <c:v>0.11610180874499837</c:v>
                </c:pt>
                <c:pt idx="4">
                  <c:v>0.39500696547679892</c:v>
                </c:pt>
                <c:pt idx="5">
                  <c:v>0.397574153594405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406726209211788E-3</c:v>
                </c:pt>
                <c:pt idx="1">
                  <c:v>3.8300346708101882E-2</c:v>
                </c:pt>
                <c:pt idx="2">
                  <c:v>0.11804545324376452</c:v>
                </c:pt>
                <c:pt idx="3">
                  <c:v>0.25149827422127424</c:v>
                </c:pt>
                <c:pt idx="4">
                  <c:v>0.40561195479085038</c:v>
                </c:pt>
                <c:pt idx="5">
                  <c:v>0.18182419182032922</c:v>
                </c:pt>
                <c:pt idx="6">
                  <c:v>5.791065947585685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7577861394508E-2</c:v>
                </c:pt>
                <c:pt idx="1">
                  <c:v>6.7655345843380704E-2</c:v>
                </c:pt>
                <c:pt idx="2">
                  <c:v>0.21547173411303427</c:v>
                </c:pt>
                <c:pt idx="3">
                  <c:v>0.4843340116357569</c:v>
                </c:pt>
                <c:pt idx="4">
                  <c:v>0.20688312282457111</c:v>
                </c:pt>
                <c:pt idx="5">
                  <c:v>1.04982077218625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4</c:v>
                </c:pt>
                <c:pt idx="5">
                  <c:v>1.38875553642803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205229389434692E-2</c:v>
                </c:pt>
                <c:pt idx="1">
                  <c:v>7.0854005164393927E-2</c:v>
                </c:pt>
                <c:pt idx="2">
                  <c:v>0.22945432953046957</c:v>
                </c:pt>
                <c:pt idx="3">
                  <c:v>0.4633933380993725</c:v>
                </c:pt>
                <c:pt idx="4">
                  <c:v>0.19642286191479091</c:v>
                </c:pt>
                <c:pt idx="5">
                  <c:v>1.4670235901538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1373589723593E-3</c:v>
                </c:pt>
                <c:pt idx="2">
                  <c:v>6.5348137603685269E-2</c:v>
                </c:pt>
                <c:pt idx="3">
                  <c:v>0.18279274351755131</c:v>
                </c:pt>
                <c:pt idx="4">
                  <c:v>0.58824314448782078</c:v>
                </c:pt>
                <c:pt idx="5">
                  <c:v>0.15763860412494748</c:v>
                </c:pt>
                <c:pt idx="6">
                  <c:v>3.96909555324027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19</c:v>
                </c:pt>
                <c:pt idx="4">
                  <c:v>0.56644603950565153</c:v>
                </c:pt>
                <c:pt idx="5">
                  <c:v>0.19549927143426438</c:v>
                </c:pt>
                <c:pt idx="6">
                  <c:v>8.1053550458520243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0210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0556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0519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20902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05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33525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1857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43474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414958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5568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46826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96258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1993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292105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196930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5193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04010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28585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160115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12224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608768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8939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07472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77350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15857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10789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04350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80018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4365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46932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499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907583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6584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2767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637971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44537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139272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36917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571045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01860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275884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49483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31513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746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76993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71728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4850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88736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64873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075827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7996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689154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64098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981442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47997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58371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18594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50224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003964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79296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496536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220605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9561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7470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55929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6542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4735</Words>
  <Application>Microsoft Office PowerPoint</Application>
  <PresentationFormat>On-screen Show (16:9)</PresentationFormat>
  <Paragraphs>1376</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1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